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92" r:id="rId2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57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775AF6D-3732-BDB5-7C45-A00E03E545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2351BB25-D34D-B512-1A1A-F5EC3E9816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46D1075E-B35B-0A97-BB65-EE21EFB29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12E26E-A020-4588-956B-51A27F1A9529}" type="datetimeFigureOut">
              <a:rPr lang="ko-KR" altLang="en-US" smtClean="0"/>
              <a:t>2022-11-1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8213624-81C3-E7F6-829B-6B333C790D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3DEE0244-828E-FBD3-E18D-EE8F48EC70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8B960-6A34-49CF-BE91-C811D294CE1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704273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B8DAAC1-47E6-11C4-9445-82C40A60F1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10D31E85-DC1F-7A3C-4AB4-A1D5F2518A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B00F2B1-9ED4-69FF-8AF4-1E42516748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12E26E-A020-4588-956B-51A27F1A9529}" type="datetimeFigureOut">
              <a:rPr lang="ko-KR" altLang="en-US" smtClean="0"/>
              <a:t>2022-11-1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91F0F135-4661-7E30-B1D1-136D0B2AFE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25727E7D-8033-079B-CEA6-D178730BA2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8B960-6A34-49CF-BE91-C811D294CE1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695332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F11501FB-BE6A-CF0C-A3EE-556CD8ED029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B3A07C0B-E36F-42EB-0947-C56775DD0AC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139DBCD3-D0FB-9A59-518D-393B40292C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12E26E-A020-4588-956B-51A27F1A9529}" type="datetimeFigureOut">
              <a:rPr lang="ko-KR" altLang="en-US" smtClean="0"/>
              <a:t>2022-11-1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B9E60C1-29E9-037D-BCDB-9A23CEE4A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F5D8856-B196-D48F-F3AB-25F1A82F5B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8B960-6A34-49CF-BE91-C811D294CE1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808074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E6BDF0A-712F-D456-E381-E5CDA3ECE5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F175717D-780B-2F1C-6CC0-5F5F751E56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1E60C50-51D7-8560-3813-6EE889E4D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12E26E-A020-4588-956B-51A27F1A9529}" type="datetimeFigureOut">
              <a:rPr lang="ko-KR" altLang="en-US" smtClean="0"/>
              <a:t>2022-11-1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9C751770-1846-1D91-5C37-6BF640E3E2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A7CFEDD-5577-DC06-4C08-AC3BA5A21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8B960-6A34-49CF-BE91-C811D294CE1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264957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840D2C0-DF9F-8DC0-EBE2-45848588A6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AED83BC-A8F7-0015-3382-DCE21836DC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DCE4FD4C-D295-FFA6-C4D8-65D599B6B8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12E26E-A020-4588-956B-51A27F1A9529}" type="datetimeFigureOut">
              <a:rPr lang="ko-KR" altLang="en-US" smtClean="0"/>
              <a:t>2022-11-1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8F1D779-13A8-908A-4CA1-4BA4FB530C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7B1D979-ACCE-4D31-4275-E5BD256AF0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8B960-6A34-49CF-BE91-C811D294CE1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413355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9763D9A-2C98-5620-0928-FF1D1AB3F4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96FB1088-C1BB-DBF4-7505-751DEB2AEB4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AFA0A485-336A-16A9-9CBD-75F764BBF3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B3DF680A-96EE-B527-E7C4-9D2D560D04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12E26E-A020-4588-956B-51A27F1A9529}" type="datetimeFigureOut">
              <a:rPr lang="ko-KR" altLang="en-US" smtClean="0"/>
              <a:t>2022-11-16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03A3B176-C687-E1C0-F4D8-DB0E672422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F118A3E-3B7E-6E03-F6B2-5B87F62859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8B960-6A34-49CF-BE91-C811D294CE1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583369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D13B034-F912-7AE4-8A87-86ACBE6E12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B0FB4F35-D73A-AEC0-DD69-5B5A3E39C8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D209AEF-2D45-6F8E-DE40-67D094A2C7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03C812A9-B847-8776-C7B9-EB4BE61014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6C663CDD-7EDB-BD33-EBD1-28C63097F92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4EBBC2F7-DF77-3342-7765-9EE5E986DF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12E26E-A020-4588-956B-51A27F1A9529}" type="datetimeFigureOut">
              <a:rPr lang="ko-KR" altLang="en-US" smtClean="0"/>
              <a:t>2022-11-16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2EF0B5F6-B0E5-C97C-4EFA-90415715FF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4E761BE3-84CB-C195-015A-1D05D97A73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8B960-6A34-49CF-BE91-C811D294CE1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4655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4838683-582D-D705-6C01-6F95473AEB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4757311D-8EF4-1739-B647-0BBD373716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12E26E-A020-4588-956B-51A27F1A9529}" type="datetimeFigureOut">
              <a:rPr lang="ko-KR" altLang="en-US" smtClean="0"/>
              <a:t>2022-11-16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E592F702-C4BF-F8B8-F08B-3310EB836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AF76BA5D-584E-504B-99BB-2FA0721239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8B960-6A34-49CF-BE91-C811D294CE1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772747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1AB855A4-A2C0-CCDF-88D0-5A62AB0769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12E26E-A020-4588-956B-51A27F1A9529}" type="datetimeFigureOut">
              <a:rPr lang="ko-KR" altLang="en-US" smtClean="0"/>
              <a:t>2022-11-16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4CEB5811-C0F6-C793-6850-394072FC46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36C1B0C-703C-F3DA-AB4E-FE06C27651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8B960-6A34-49CF-BE91-C811D294CE1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102097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BB354A3F-5BE7-67E0-AA73-13AB64E45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5981088A-8906-3402-5362-39F5632E4B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6BB1DDF0-3202-35A6-99B2-03CE9DF0DF7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649E82FD-55FB-855E-66CB-CB90D54D33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12E26E-A020-4588-956B-51A27F1A9529}" type="datetimeFigureOut">
              <a:rPr lang="ko-KR" altLang="en-US" smtClean="0"/>
              <a:t>2022-11-16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F72A56AC-9608-B53E-810A-C13639816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975A5D3F-57B8-EE33-2CAD-2313ADAF13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8B960-6A34-49CF-BE91-C811D294CE1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334528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DFC645A-DE0E-F63D-A844-8BE8C8554C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15E26120-EFFF-C564-0412-93C6226376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6B096D59-F8BC-1292-D3B7-50738B6AAB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3F7B1FB1-16AA-E4FE-C5E7-CA97A078A5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12E26E-A020-4588-956B-51A27F1A9529}" type="datetimeFigureOut">
              <a:rPr lang="ko-KR" altLang="en-US" smtClean="0"/>
              <a:t>2022-11-16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87491ED3-D239-38F5-FE8B-C03697B965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754EDDE5-55BF-D31F-FD97-13AF80792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8B960-6A34-49CF-BE91-C811D294CE1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936925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EAD0BDB6-AD58-C0C5-3660-9972849E8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C7FED4A8-ED9C-7A5B-7900-70DB820D85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D890FEC-42D5-47A1-203A-3E5C4A4CA1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12E26E-A020-4588-956B-51A27F1A9529}" type="datetimeFigureOut">
              <a:rPr lang="ko-KR" altLang="en-US" smtClean="0"/>
              <a:t>2022-11-1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080086CB-9888-7367-54DF-3E6582F0BA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D276FCC-76A7-1BE6-1930-58CA4192EA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98B960-6A34-49CF-BE91-C811D294CE1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78570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자유형 17">
            <a:extLst>
              <a:ext uri="{FF2B5EF4-FFF2-40B4-BE49-F238E27FC236}">
                <a16:creationId xmlns:a16="http://schemas.microsoft.com/office/drawing/2014/main" id="{43481015-B43E-4F30-A657-320C8FA75BB8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717180" y="200539"/>
            <a:ext cx="1226911" cy="382856"/>
          </a:xfrm>
          <a:custGeom>
            <a:avLst/>
            <a:gdLst>
              <a:gd name="connsiteX0" fmla="*/ 0 w 3962400"/>
              <a:gd name="connsiteY0" fmla="*/ 0 h 431800"/>
              <a:gd name="connsiteX1" fmla="*/ 0 w 3962400"/>
              <a:gd name="connsiteY1" fmla="*/ 431800 h 431800"/>
              <a:gd name="connsiteX2" fmla="*/ 3962400 w 3962400"/>
              <a:gd name="connsiteY2" fmla="*/ 431800 h 431800"/>
              <a:gd name="connsiteX3" fmla="*/ 3873500 w 3962400"/>
              <a:gd name="connsiteY3" fmla="*/ 0 h 431800"/>
              <a:gd name="connsiteX4" fmla="*/ 0 w 3962400"/>
              <a:gd name="connsiteY4" fmla="*/ 0 h 431800"/>
              <a:gd name="connsiteX0" fmla="*/ 0 w 3947716"/>
              <a:gd name="connsiteY0" fmla="*/ 0 h 431800"/>
              <a:gd name="connsiteX1" fmla="*/ 0 w 3947716"/>
              <a:gd name="connsiteY1" fmla="*/ 431800 h 431800"/>
              <a:gd name="connsiteX2" fmla="*/ 3947716 w 3947716"/>
              <a:gd name="connsiteY2" fmla="*/ 431800 h 431800"/>
              <a:gd name="connsiteX3" fmla="*/ 3873500 w 3947716"/>
              <a:gd name="connsiteY3" fmla="*/ 0 h 431800"/>
              <a:gd name="connsiteX4" fmla="*/ 0 w 3947716"/>
              <a:gd name="connsiteY4" fmla="*/ 0 h 431800"/>
              <a:gd name="connsiteX0" fmla="*/ 0 w 3947716"/>
              <a:gd name="connsiteY0" fmla="*/ 6923 h 438723"/>
              <a:gd name="connsiteX1" fmla="*/ 0 w 3947716"/>
              <a:gd name="connsiteY1" fmla="*/ 438723 h 438723"/>
              <a:gd name="connsiteX2" fmla="*/ 3947716 w 3947716"/>
              <a:gd name="connsiteY2" fmla="*/ 438723 h 438723"/>
              <a:gd name="connsiteX3" fmla="*/ 3891535 w 3947716"/>
              <a:gd name="connsiteY3" fmla="*/ 0 h 438723"/>
              <a:gd name="connsiteX4" fmla="*/ 0 w 3947716"/>
              <a:gd name="connsiteY4" fmla="*/ 6923 h 438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47716" h="438723">
                <a:moveTo>
                  <a:pt x="0" y="6923"/>
                </a:moveTo>
                <a:lnTo>
                  <a:pt x="0" y="438723"/>
                </a:lnTo>
                <a:lnTo>
                  <a:pt x="3947716" y="438723"/>
                </a:lnTo>
                <a:lnTo>
                  <a:pt x="3891535" y="0"/>
                </a:lnTo>
                <a:lnTo>
                  <a:pt x="0" y="6923"/>
                </a:lnTo>
                <a:close/>
              </a:path>
            </a:pathLst>
          </a:custGeom>
          <a:solidFill>
            <a:srgbClr val="336699"/>
          </a:solidFill>
          <a:ln w="9525" cap="flat" cmpd="sng" algn="ctr">
            <a:solidFill>
              <a:srgbClr val="CDDEE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6800" rIns="9144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altLang="ko-KR" sz="1400" b="1" dirty="0">
                <a:solidFill>
                  <a:srgbClr val="FFFFFF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Contents</a:t>
            </a:r>
            <a:endParaRPr lang="ko-KR" altLang="en-US" sz="1400" b="1" dirty="0">
              <a:solidFill>
                <a:srgbClr val="FFFFFF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2C22D63E-8452-7554-C0A9-8441AFC634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7786" y="1956492"/>
            <a:ext cx="4265516" cy="376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22DF3512-8F93-D277-4FF3-E20E44AE16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34909" y="3519584"/>
            <a:ext cx="3357825" cy="2165225"/>
          </a:xfrm>
          <a:prstGeom prst="rect">
            <a:avLst/>
          </a:prstGeom>
        </p:spPr>
      </p:pic>
      <p:sp>
        <p:nvSpPr>
          <p:cNvPr id="17" name="텍스트 개체 틀 4">
            <a:extLst>
              <a:ext uri="{FF2B5EF4-FFF2-40B4-BE49-F238E27FC236}">
                <a16:creationId xmlns:a16="http://schemas.microsoft.com/office/drawing/2014/main" id="{E2179CD1-5310-44F9-B274-8134F27DD9E8}"/>
              </a:ext>
            </a:extLst>
          </p:cNvPr>
          <p:cNvSpPr txBox="1">
            <a:spLocks/>
          </p:cNvSpPr>
          <p:nvPr/>
        </p:nvSpPr>
        <p:spPr>
          <a:xfrm>
            <a:off x="1712329" y="985884"/>
            <a:ext cx="4670973" cy="245629"/>
          </a:xfrm>
          <a:prstGeom prst="rect">
            <a:avLst/>
          </a:prstGeom>
        </p:spPr>
        <p:txBody>
          <a:bodyPr/>
          <a:lstStyle>
            <a:lvl1pPr marL="0" indent="0" algn="l" defTabSz="742950" rtl="0" eaLnBrk="1" latinLnBrk="1" hangingPunct="1">
              <a:lnSpc>
                <a:spcPct val="90000"/>
              </a:lnSpc>
              <a:spcBef>
                <a:spcPts val="813"/>
              </a:spcBef>
              <a:buFont typeface="+mj-lt"/>
              <a:buNone/>
              <a:defRPr kumimoji="1" lang="ko-KR" altLang="en-US" sz="1000" b="0" i="0" kern="1200" dirty="0">
                <a:solidFill>
                  <a:srgbClr val="005EB8"/>
                </a:solidFill>
                <a:latin typeface="Noto Sans Korean Regular" panose="020B0500000000000000" pitchFamily="34" charset="-128"/>
                <a:ea typeface="Noto Sans Korean Regular" panose="020B0500000000000000" pitchFamily="34" charset="-128"/>
                <a:cs typeface="+mn-cs"/>
              </a:defRPr>
            </a:lvl1pPr>
            <a:lvl2pPr marL="557213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2000"/>
            <a:r>
              <a:rPr lang="ko-KR" altLang="en-US" sz="1400" b="1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▪공사장 소음저감 시스템의 개요</a:t>
            </a:r>
          </a:p>
        </p:txBody>
      </p:sp>
      <p:sp>
        <p:nvSpPr>
          <p:cNvPr id="18" name="Rectangle 8">
            <a:extLst>
              <a:ext uri="{FF2B5EF4-FFF2-40B4-BE49-F238E27FC236}">
                <a16:creationId xmlns:a16="http://schemas.microsoft.com/office/drawing/2014/main" id="{F2040DEA-7EAE-4AB7-B0FA-F89B7DB056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0635" y="1666956"/>
            <a:ext cx="3953835" cy="2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rIns="0" anchor="ctr"/>
          <a:lstStyle/>
          <a:p>
            <a:pPr marL="609600" indent="-609600" algn="ctr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050" dirty="0">
                <a:solidFill>
                  <a:srgbClr val="000000"/>
                </a:solidFill>
                <a:latin typeface="Noto Sans CJK KR Regular" pitchFamily="34" charset="-127"/>
                <a:ea typeface="Noto Sans CJK KR Regular" pitchFamily="34" charset="-127"/>
              </a:rPr>
              <a:t>[</a:t>
            </a:r>
            <a:r>
              <a:rPr kumimoji="1" lang="en-US" altLang="ko-KR" sz="1050" dirty="0" err="1">
                <a:solidFill>
                  <a:srgbClr val="000000"/>
                </a:solidFill>
                <a:latin typeface="Noto Sans CJK KR Regular" pitchFamily="34" charset="-127"/>
                <a:ea typeface="Noto Sans CJK KR Regular" pitchFamily="34" charset="-127"/>
              </a:rPr>
              <a:t>loT</a:t>
            </a:r>
            <a:r>
              <a:rPr kumimoji="1" lang="ko-KR" altLang="en-US" sz="1050" dirty="0">
                <a:solidFill>
                  <a:srgbClr val="000000"/>
                </a:solidFill>
                <a:latin typeface="Noto Sans CJK KR Regular" pitchFamily="34" charset="-127"/>
                <a:ea typeface="Noto Sans CJK KR Regular" pitchFamily="34" charset="-127"/>
              </a:rPr>
              <a:t>를 활용한 공사장 소음관리 구조</a:t>
            </a:r>
            <a:r>
              <a:rPr kumimoji="1" lang="en-US" altLang="ko-KR" sz="1050" dirty="0">
                <a:solidFill>
                  <a:srgbClr val="000000"/>
                </a:solidFill>
                <a:latin typeface="Noto Sans CJK KR Regular" pitchFamily="34" charset="-127"/>
                <a:ea typeface="Noto Sans CJK KR Regular" pitchFamily="34" charset="-127"/>
              </a:rPr>
              <a:t>]</a:t>
            </a:r>
            <a:endParaRPr kumimoji="1" lang="ko-KR" altLang="en-US" sz="1050" dirty="0">
              <a:solidFill>
                <a:srgbClr val="000000"/>
              </a:solidFill>
              <a:latin typeface="Noto Sans CJK KR Regular" pitchFamily="34" charset="-127"/>
              <a:ea typeface="Noto Sans CJK KR Regular" pitchFamily="34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B21952D2-17E4-485F-BC95-4269F99E107E}"/>
              </a:ext>
            </a:extLst>
          </p:cNvPr>
          <p:cNvSpPr/>
          <p:nvPr/>
        </p:nvSpPr>
        <p:spPr>
          <a:xfrm>
            <a:off x="6834908" y="1566075"/>
            <a:ext cx="1416756" cy="28800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보유 기술 특징</a:t>
            </a:r>
          </a:p>
        </p:txBody>
      </p:sp>
      <p:sp>
        <p:nvSpPr>
          <p:cNvPr id="20" name="텍스트 개체 틀 4">
            <a:extLst>
              <a:ext uri="{FF2B5EF4-FFF2-40B4-BE49-F238E27FC236}">
                <a16:creationId xmlns:a16="http://schemas.microsoft.com/office/drawing/2014/main" id="{68235D5B-1627-4892-BE70-51C643F00F9F}"/>
              </a:ext>
            </a:extLst>
          </p:cNvPr>
          <p:cNvSpPr txBox="1">
            <a:spLocks/>
          </p:cNvSpPr>
          <p:nvPr/>
        </p:nvSpPr>
        <p:spPr>
          <a:xfrm>
            <a:off x="6743700" y="1973744"/>
            <a:ext cx="3781425" cy="1047766"/>
          </a:xfrm>
          <a:prstGeom prst="rect">
            <a:avLst/>
          </a:prstGeom>
        </p:spPr>
        <p:txBody>
          <a:bodyPr/>
          <a:lstStyle>
            <a:lvl1pPr marL="0" indent="0" algn="l" defTabSz="742950" rtl="0" eaLnBrk="1" latinLnBrk="1" hangingPunct="1">
              <a:lnSpc>
                <a:spcPct val="90000"/>
              </a:lnSpc>
              <a:spcBef>
                <a:spcPts val="813"/>
              </a:spcBef>
              <a:buFont typeface="+mj-lt"/>
              <a:buNone/>
              <a:defRPr kumimoji="1" lang="ko-KR" altLang="en-US" sz="1000" b="0" i="0" kern="1200" dirty="0">
                <a:solidFill>
                  <a:srgbClr val="005EB8"/>
                </a:solidFill>
                <a:latin typeface="Noto Sans Korean Regular" panose="020B0500000000000000" pitchFamily="34" charset="-128"/>
                <a:ea typeface="Noto Sans Korean Regular" panose="020B0500000000000000" pitchFamily="34" charset="-128"/>
                <a:cs typeface="+mn-cs"/>
              </a:defRPr>
            </a:lvl1pPr>
            <a:lvl2pPr marL="557213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2000"/>
            <a:r>
              <a:rPr lang="ko-KR" altLang="en-US" sz="11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▪ 주요내용</a:t>
            </a:r>
            <a:endParaRPr lang="en-US" altLang="ko-KR" sz="1100" dirty="0">
              <a:solidFill>
                <a:schemeClr val="tx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marL="72000"/>
            <a:r>
              <a:rPr lang="en-US" altLang="ko-KR" sz="11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   - </a:t>
            </a:r>
            <a:r>
              <a:rPr lang="ko-KR" altLang="en-US" sz="11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공사발생 소음에 대한 신속 현장 대응</a:t>
            </a:r>
            <a:endParaRPr lang="en-US" altLang="ko-KR" sz="1100" dirty="0">
              <a:solidFill>
                <a:schemeClr val="tx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marL="72000"/>
            <a:r>
              <a:rPr lang="en-US" altLang="ko-KR" sz="11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   - </a:t>
            </a:r>
            <a:r>
              <a:rPr lang="ko-KR" altLang="en-US" sz="11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민원 발생 최소화를 위한 최적공법 제시</a:t>
            </a:r>
            <a:endParaRPr lang="en-US" altLang="ko-KR" sz="1100" dirty="0">
              <a:solidFill>
                <a:schemeClr val="tx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marL="72000"/>
            <a:r>
              <a:rPr lang="en-US" altLang="ko-KR" sz="11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   - </a:t>
            </a:r>
            <a:r>
              <a:rPr lang="ko-KR" altLang="en-US" sz="11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최적공법에 따른 쾌적한 공사환경 적용</a:t>
            </a:r>
            <a:endParaRPr lang="en-US" altLang="ko-KR" sz="1100" dirty="0">
              <a:solidFill>
                <a:schemeClr val="tx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1" name="Rectangle 8">
            <a:extLst>
              <a:ext uri="{FF2B5EF4-FFF2-40B4-BE49-F238E27FC236}">
                <a16:creationId xmlns:a16="http://schemas.microsoft.com/office/drawing/2014/main" id="{C9981B32-A56F-4525-9920-6DE990BDDB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34909" y="3242042"/>
            <a:ext cx="3357824" cy="2430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rIns="0" anchor="ctr"/>
          <a:lstStyle/>
          <a:p>
            <a:pPr marL="609600" indent="-609600" algn="ctr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050" dirty="0">
                <a:solidFill>
                  <a:srgbClr val="000000"/>
                </a:solidFill>
                <a:latin typeface="Noto Sans CJK KR Regular" pitchFamily="34" charset="-127"/>
                <a:ea typeface="Noto Sans CJK KR Regular" pitchFamily="34" charset="-127"/>
              </a:rPr>
              <a:t>[</a:t>
            </a:r>
            <a:r>
              <a:rPr kumimoji="1" lang="ko-KR" altLang="en-US" sz="1050" dirty="0">
                <a:solidFill>
                  <a:srgbClr val="000000"/>
                </a:solidFill>
                <a:latin typeface="Noto Sans CJK KR Regular" pitchFamily="34" charset="-127"/>
                <a:ea typeface="Noto Sans CJK KR Regular" pitchFamily="34" charset="-127"/>
              </a:rPr>
              <a:t>공사장 소음 예측 현장사례</a:t>
            </a:r>
            <a:r>
              <a:rPr kumimoji="1" lang="en-US" altLang="ko-KR" sz="1050" dirty="0">
                <a:solidFill>
                  <a:srgbClr val="000000"/>
                </a:solidFill>
                <a:latin typeface="Noto Sans CJK KR Regular" pitchFamily="34" charset="-127"/>
                <a:ea typeface="Noto Sans CJK KR Regular" pitchFamily="34" charset="-127"/>
              </a:rPr>
              <a:t>]</a:t>
            </a:r>
            <a:endParaRPr kumimoji="1" lang="ko-KR" altLang="en-US" sz="1050" dirty="0">
              <a:solidFill>
                <a:srgbClr val="000000"/>
              </a:solidFill>
              <a:latin typeface="Noto Sans CJK KR Regular" pitchFamily="34" charset="-127"/>
              <a:ea typeface="Noto Sans CJK KR Regular" pitchFamily="34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2B6B120-2615-78AD-930B-90D1CE59878F}"/>
              </a:ext>
            </a:extLst>
          </p:cNvPr>
          <p:cNvSpPr txBox="1"/>
          <p:nvPr/>
        </p:nvSpPr>
        <p:spPr>
          <a:xfrm>
            <a:off x="2935224" y="237745"/>
            <a:ext cx="2504212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b="1" dirty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▪공사장 소음저감 시스템</a:t>
            </a:r>
          </a:p>
          <a:p>
            <a:endParaRPr lang="ko-KR" altLang="en-US" b="1" dirty="0"/>
          </a:p>
        </p:txBody>
      </p:sp>
    </p:spTree>
    <p:extLst>
      <p:ext uri="{BB962C8B-B14F-4D97-AF65-F5344CB8AC3E}">
        <p14:creationId xmlns:p14="http://schemas.microsoft.com/office/powerpoint/2010/main" val="34687564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dwab2NeUOKy69D6KTbS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53</Words>
  <Application>Microsoft Office PowerPoint</Application>
  <PresentationFormat>와이드스크린</PresentationFormat>
  <Paragraphs>10</Paragraphs>
  <Slides>1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3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</vt:i4>
      </vt:variant>
    </vt:vector>
  </HeadingPairs>
  <TitlesOfParts>
    <vt:vector size="5" baseType="lpstr">
      <vt:lpstr>Noto Sans CJK KR Regular</vt:lpstr>
      <vt:lpstr>맑은 고딕</vt:lpstr>
      <vt:lpstr>Arial</vt:lpstr>
      <vt:lpstr>Office 테마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4M-PLAN</dc:creator>
  <cp:lastModifiedBy>4M-PLAN</cp:lastModifiedBy>
  <cp:revision>1</cp:revision>
  <dcterms:created xsi:type="dcterms:W3CDTF">2022-11-16T09:24:56Z</dcterms:created>
  <dcterms:modified xsi:type="dcterms:W3CDTF">2022-11-16T09:25:59Z</dcterms:modified>
</cp:coreProperties>
</file>